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6DFD19-9071-4B24-AA88-5DC23F609659}" v="4166" dt="2022-11-19T03:27:19.6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lvyn Yovany Martinez Barahona" userId="3ccf779dc7355a40" providerId="LiveId" clId="{176DFD19-9071-4B24-AA88-5DC23F609659}"/>
    <pc:docChg chg="undo custSel modSld replTag">
      <pc:chgData name="Selvyn Yovany Martinez Barahona" userId="3ccf779dc7355a40" providerId="LiveId" clId="{176DFD19-9071-4B24-AA88-5DC23F609659}" dt="2022-11-19T03:27:19.622" v="8222"/>
      <pc:docMkLst>
        <pc:docMk/>
      </pc:docMkLst>
      <pc:sldChg chg="addSp delSp modSp mod">
        <pc:chgData name="Selvyn Yovany Martinez Barahona" userId="3ccf779dc7355a40" providerId="LiveId" clId="{176DFD19-9071-4B24-AA88-5DC23F609659}" dt="2022-11-19T03:27:19.622" v="8222"/>
        <pc:sldMkLst>
          <pc:docMk/>
          <pc:sldMk cId="849266544" sldId="256"/>
        </pc:sldMkLst>
        <pc:spChg chg="add del mod modVis">
          <ac:chgData name="Selvyn Yovany Martinez Barahona" userId="3ccf779dc7355a40" providerId="LiveId" clId="{176DFD19-9071-4B24-AA88-5DC23F609659}" dt="2022-11-19T03:20:00.569" v="3026"/>
          <ac:spMkLst>
            <pc:docMk/>
            <pc:sldMk cId="849266544" sldId="256"/>
            <ac:spMk id="2" creationId="{0C94FFEE-B61F-F0F5-26C1-9FAC96E2B601}"/>
          </ac:spMkLst>
        </pc:spChg>
        <pc:spChg chg="add del mod modVis">
          <ac:chgData name="Selvyn Yovany Martinez Barahona" userId="3ccf779dc7355a40" providerId="LiveId" clId="{176DFD19-9071-4B24-AA88-5DC23F609659}" dt="2022-11-08T05:29:39.210" v="2836"/>
          <ac:spMkLst>
            <pc:docMk/>
            <pc:sldMk cId="849266544" sldId="256"/>
            <ac:spMk id="2" creationId="{142B63F9-4705-DEFE-E463-E546F7705356}"/>
          </ac:spMkLst>
        </pc:spChg>
        <pc:spChg chg="add del mod modVis">
          <ac:chgData name="Selvyn Yovany Martinez Barahona" userId="3ccf779dc7355a40" providerId="LiveId" clId="{176DFD19-9071-4B24-AA88-5DC23F609659}" dt="2022-11-19T03:20:05.420" v="3246"/>
          <ac:spMkLst>
            <pc:docMk/>
            <pc:sldMk cId="849266544" sldId="256"/>
            <ac:spMk id="5" creationId="{2D821C52-5A1B-7358-0CF4-D394009C308D}"/>
          </ac:spMkLst>
        </pc:spChg>
        <pc:spChg chg="add del mod modVis">
          <ac:chgData name="Selvyn Yovany Martinez Barahona" userId="3ccf779dc7355a40" providerId="LiveId" clId="{176DFD19-9071-4B24-AA88-5DC23F609659}" dt="2022-11-19T03:26:21.158" v="6807"/>
          <ac:spMkLst>
            <pc:docMk/>
            <pc:sldMk cId="849266544" sldId="256"/>
            <ac:spMk id="57" creationId="{B47714E9-0F25-BE72-31CE-185206AE05BE}"/>
          </ac:spMkLst>
        </pc:spChg>
        <pc:spChg chg="add del mod modVis">
          <ac:chgData name="Selvyn Yovany Martinez Barahona" userId="3ccf779dc7355a40" providerId="LiveId" clId="{176DFD19-9071-4B24-AA88-5DC23F609659}" dt="2022-11-19T03:26:25.617" v="7224"/>
          <ac:spMkLst>
            <pc:docMk/>
            <pc:sldMk cId="849266544" sldId="256"/>
            <ac:spMk id="58" creationId="{2FCF5A2B-D680-8058-52AC-6C0D7836A0AC}"/>
          </ac:spMkLst>
        </pc:spChg>
        <pc:spChg chg="add del mod modVis">
          <ac:chgData name="Selvyn Yovany Martinez Barahona" userId="3ccf779dc7355a40" providerId="LiveId" clId="{176DFD19-9071-4B24-AA88-5DC23F609659}" dt="2022-11-19T03:26:40.382" v="7269"/>
          <ac:spMkLst>
            <pc:docMk/>
            <pc:sldMk cId="849266544" sldId="256"/>
            <ac:spMk id="61" creationId="{E6E62093-958B-DA75-D397-2895F03C6F60}"/>
          </ac:spMkLst>
        </pc:spChg>
        <pc:spChg chg="add del mod modVis">
          <ac:chgData name="Selvyn Yovany Martinez Barahona" userId="3ccf779dc7355a40" providerId="LiveId" clId="{176DFD19-9071-4B24-AA88-5DC23F609659}" dt="2022-11-19T03:26:40.758" v="7507"/>
          <ac:spMkLst>
            <pc:docMk/>
            <pc:sldMk cId="849266544" sldId="256"/>
            <ac:spMk id="62" creationId="{E7BE51FB-E21E-50FD-2D38-B9845BE039B6}"/>
          </ac:spMkLst>
        </pc:spChg>
        <pc:spChg chg="mod">
          <ac:chgData name="Selvyn Yovany Martinez Barahona" userId="3ccf779dc7355a40" providerId="LiveId" clId="{176DFD19-9071-4B24-AA88-5DC23F609659}" dt="2022-11-19T03:27:19.602" v="8206"/>
          <ac:spMkLst>
            <pc:docMk/>
            <pc:sldMk cId="849266544" sldId="256"/>
            <ac:spMk id="168" creationId="{F01B8698-9294-F532-DDB4-2EE198CBAA21}"/>
          </ac:spMkLst>
        </pc:spChg>
        <pc:spChg chg="mod">
          <ac:chgData name="Selvyn Yovany Martinez Barahona" userId="3ccf779dc7355a40" providerId="LiveId" clId="{176DFD19-9071-4B24-AA88-5DC23F609659}" dt="2022-11-19T03:27:19.603" v="8207"/>
          <ac:spMkLst>
            <pc:docMk/>
            <pc:sldMk cId="849266544" sldId="256"/>
            <ac:spMk id="169" creationId="{F01B8698-9294-F532-DDB4-2EE198CBAA21}"/>
          </ac:spMkLst>
        </pc:spChg>
        <pc:spChg chg="mod">
          <ac:chgData name="Selvyn Yovany Martinez Barahona" userId="3ccf779dc7355a40" providerId="LiveId" clId="{176DFD19-9071-4B24-AA88-5DC23F609659}" dt="2022-11-19T03:27:19.602" v="8205"/>
          <ac:spMkLst>
            <pc:docMk/>
            <pc:sldMk cId="849266544" sldId="256"/>
            <ac:spMk id="186" creationId="{D2C85364-35B4-24C7-21A3-4F985EAEEE7E}"/>
          </ac:spMkLst>
        </pc:spChg>
        <pc:spChg chg="mod">
          <ac:chgData name="Selvyn Yovany Martinez Barahona" userId="3ccf779dc7355a40" providerId="LiveId" clId="{176DFD19-9071-4B24-AA88-5DC23F609659}" dt="2022-11-19T03:27:19.604" v="8208"/>
          <ac:spMkLst>
            <pc:docMk/>
            <pc:sldMk cId="849266544" sldId="256"/>
            <ac:spMk id="189" creationId="{35BB811B-08DE-AB67-F9FD-C573E1C72AC3}"/>
          </ac:spMkLst>
        </pc:spChg>
        <pc:spChg chg="mod">
          <ac:chgData name="Selvyn Yovany Martinez Barahona" userId="3ccf779dc7355a40" providerId="LiveId" clId="{176DFD19-9071-4B24-AA88-5DC23F609659}" dt="2022-11-19T03:27:19.604" v="8209"/>
          <ac:spMkLst>
            <pc:docMk/>
            <pc:sldMk cId="849266544" sldId="256"/>
            <ac:spMk id="190" creationId="{27C272A0-CD42-325D-2C62-C2A645DB0C17}"/>
          </ac:spMkLst>
        </pc:spChg>
        <pc:spChg chg="mod">
          <ac:chgData name="Selvyn Yovany Martinez Barahona" userId="3ccf779dc7355a40" providerId="LiveId" clId="{176DFD19-9071-4B24-AA88-5DC23F609659}" dt="2022-11-19T03:27:19.605" v="8210"/>
          <ac:spMkLst>
            <pc:docMk/>
            <pc:sldMk cId="849266544" sldId="256"/>
            <ac:spMk id="191" creationId="{35BF6085-E56A-8D0E-9B3C-4692F351187A}"/>
          </ac:spMkLst>
        </pc:spChg>
        <pc:spChg chg="del mod">
          <ac:chgData name="Selvyn Yovany Martinez Barahona" userId="3ccf779dc7355a40" providerId="LiveId" clId="{176DFD19-9071-4B24-AA88-5DC23F609659}" dt="2022-11-08T00:30:19.094" v="245"/>
          <ac:spMkLst>
            <pc:docMk/>
            <pc:sldMk cId="849266544" sldId="256"/>
            <ac:spMk id="193" creationId="{F01B8698-9294-F532-DDB4-2EE198CBAA21}"/>
          </ac:spMkLst>
        </pc:spChg>
        <pc:spChg chg="del mod">
          <ac:chgData name="Selvyn Yovany Martinez Barahona" userId="3ccf779dc7355a40" providerId="LiveId" clId="{176DFD19-9071-4B24-AA88-5DC23F609659}" dt="2022-11-08T00:30:19.093" v="243"/>
          <ac:spMkLst>
            <pc:docMk/>
            <pc:sldMk cId="849266544" sldId="256"/>
            <ac:spMk id="194" creationId="{F01B8698-9294-F532-DDB4-2EE198CBAA21}"/>
          </ac:spMkLst>
        </pc:spChg>
        <pc:spChg chg="del mod">
          <ac:chgData name="Selvyn Yovany Martinez Barahona" userId="3ccf779dc7355a40" providerId="LiveId" clId="{176DFD19-9071-4B24-AA88-5DC23F609659}" dt="2022-11-08T00:30:19.093" v="241"/>
          <ac:spMkLst>
            <pc:docMk/>
            <pc:sldMk cId="849266544" sldId="256"/>
            <ac:spMk id="196" creationId="{F01B8698-9294-F532-DDB4-2EE198CBAA21}"/>
          </ac:spMkLst>
        </pc:spChg>
        <pc:spChg chg="del mod">
          <ac:chgData name="Selvyn Yovany Martinez Barahona" userId="3ccf779dc7355a40" providerId="LiveId" clId="{176DFD19-9071-4B24-AA88-5DC23F609659}" dt="2022-11-08T00:30:19.092" v="239"/>
          <ac:spMkLst>
            <pc:docMk/>
            <pc:sldMk cId="849266544" sldId="256"/>
            <ac:spMk id="198" creationId="{F01B8698-9294-F532-DDB4-2EE198CBAA21}"/>
          </ac:spMkLst>
        </pc:spChg>
        <pc:spChg chg="del mod">
          <ac:chgData name="Selvyn Yovany Martinez Barahona" userId="3ccf779dc7355a40" providerId="LiveId" clId="{176DFD19-9071-4B24-AA88-5DC23F609659}" dt="2022-11-08T00:30:19.091" v="237"/>
          <ac:spMkLst>
            <pc:docMk/>
            <pc:sldMk cId="849266544" sldId="256"/>
            <ac:spMk id="199" creationId="{F01B8698-9294-F532-DDB4-2EE198CBAA21}"/>
          </ac:spMkLst>
        </pc:spChg>
        <pc:spChg chg="mod">
          <ac:chgData name="Selvyn Yovany Martinez Barahona" userId="3ccf779dc7355a40" providerId="LiveId" clId="{176DFD19-9071-4B24-AA88-5DC23F609659}" dt="2022-11-19T03:27:19.609" v="8217"/>
          <ac:spMkLst>
            <pc:docMk/>
            <pc:sldMk cId="849266544" sldId="256"/>
            <ac:spMk id="204" creationId="{F01B8698-9294-F532-DDB4-2EE198CBAA21}"/>
          </ac:spMkLst>
        </pc:spChg>
        <pc:spChg chg="mod">
          <ac:chgData name="Selvyn Yovany Martinez Barahona" userId="3ccf779dc7355a40" providerId="LiveId" clId="{176DFD19-9071-4B24-AA88-5DC23F609659}" dt="2022-11-19T03:27:16.999" v="8159"/>
          <ac:spMkLst>
            <pc:docMk/>
            <pc:sldMk cId="849266544" sldId="256"/>
            <ac:spMk id="209" creationId="{A95A17FA-3020-6F91-90B9-BE801BCA5130}"/>
          </ac:spMkLst>
        </pc:spChg>
        <pc:spChg chg="mod ord">
          <ac:chgData name="Selvyn Yovany Martinez Barahona" userId="3ccf779dc7355a40" providerId="LiveId" clId="{176DFD19-9071-4B24-AA88-5DC23F609659}" dt="2022-11-19T03:27:16.999" v="8161"/>
          <ac:spMkLst>
            <pc:docMk/>
            <pc:sldMk cId="849266544" sldId="256"/>
            <ac:spMk id="210" creationId="{52C7F6AE-BF4D-835B-F0D7-0E03307745E7}"/>
          </ac:spMkLst>
        </pc:spChg>
        <pc:spChg chg="mod">
          <ac:chgData name="Selvyn Yovany Martinez Barahona" userId="3ccf779dc7355a40" providerId="LiveId" clId="{176DFD19-9071-4B24-AA88-5DC23F609659}" dt="2022-11-19T03:27:17" v="8162"/>
          <ac:spMkLst>
            <pc:docMk/>
            <pc:sldMk cId="849266544" sldId="256"/>
            <ac:spMk id="211" creationId="{ACB5FA66-420A-A81B-9515-200E417A7614}"/>
          </ac:spMkLst>
        </pc:spChg>
        <pc:spChg chg="mod">
          <ac:chgData name="Selvyn Yovany Martinez Barahona" userId="3ccf779dc7355a40" providerId="LiveId" clId="{176DFD19-9071-4B24-AA88-5DC23F609659}" dt="2022-11-19T03:27:16.998" v="8158"/>
          <ac:spMkLst>
            <pc:docMk/>
            <pc:sldMk cId="849266544" sldId="256"/>
            <ac:spMk id="212" creationId="{CFE16A47-45D9-1330-227A-6FA04AF148BD}"/>
          </ac:spMkLst>
        </pc:spChg>
        <pc:spChg chg="mod">
          <ac:chgData name="Selvyn Yovany Martinez Barahona" userId="3ccf779dc7355a40" providerId="LiveId" clId="{176DFD19-9071-4B24-AA88-5DC23F609659}" dt="2022-11-19T03:27:17" v="8163"/>
          <ac:spMkLst>
            <pc:docMk/>
            <pc:sldMk cId="849266544" sldId="256"/>
            <ac:spMk id="213" creationId="{FCAE7E1D-1499-C758-F9FE-00B9371A46F4}"/>
          </ac:spMkLst>
        </pc:spChg>
        <pc:spChg chg="mod">
          <ac:chgData name="Selvyn Yovany Martinez Barahona" userId="3ccf779dc7355a40" providerId="LiveId" clId="{176DFD19-9071-4B24-AA88-5DC23F609659}" dt="2022-11-19T03:27:17.001" v="8164"/>
          <ac:spMkLst>
            <pc:docMk/>
            <pc:sldMk cId="849266544" sldId="256"/>
            <ac:spMk id="291" creationId="{42BABA56-84CC-058A-9FA9-01E2AE4F30F6}"/>
          </ac:spMkLst>
        </pc:spChg>
        <pc:spChg chg="mod ord">
          <ac:chgData name="Selvyn Yovany Martinez Barahona" userId="3ccf779dc7355a40" providerId="LiveId" clId="{176DFD19-9071-4B24-AA88-5DC23F609659}" dt="2022-11-19T03:27:17.004" v="8172"/>
          <ac:spMkLst>
            <pc:docMk/>
            <pc:sldMk cId="849266544" sldId="256"/>
            <ac:spMk id="316" creationId="{7C20ADE5-2FD0-8E3B-B4A5-8D535F5437A7}"/>
          </ac:spMkLst>
        </pc:spChg>
        <pc:spChg chg="mod ord">
          <ac:chgData name="Selvyn Yovany Martinez Barahona" userId="3ccf779dc7355a40" providerId="LiveId" clId="{176DFD19-9071-4B24-AA88-5DC23F609659}" dt="2022-11-19T03:27:17.004" v="8174"/>
          <ac:spMkLst>
            <pc:docMk/>
            <pc:sldMk cId="849266544" sldId="256"/>
            <ac:spMk id="385" creationId="{046DFD33-DE3E-0A85-004B-7F5CE8942312}"/>
          </ac:spMkLst>
        </pc:spChg>
        <pc:spChg chg="mod ord">
          <ac:chgData name="Selvyn Yovany Martinez Barahona" userId="3ccf779dc7355a40" providerId="LiveId" clId="{176DFD19-9071-4B24-AA88-5DC23F609659}" dt="2022-11-19T03:27:17.005" v="8178"/>
          <ac:spMkLst>
            <pc:docMk/>
            <pc:sldMk cId="849266544" sldId="256"/>
            <ac:spMk id="387" creationId="{F048C153-7E8A-8CE6-EB18-71AEF89CFA99}"/>
          </ac:spMkLst>
        </pc:spChg>
        <pc:spChg chg="mod ord">
          <ac:chgData name="Selvyn Yovany Martinez Barahona" userId="3ccf779dc7355a40" providerId="LiveId" clId="{176DFD19-9071-4B24-AA88-5DC23F609659}" dt="2022-11-19T03:27:17.006" v="8182"/>
          <ac:spMkLst>
            <pc:docMk/>
            <pc:sldMk cId="849266544" sldId="256"/>
            <ac:spMk id="388" creationId="{1668D685-E39E-CA78-E994-97AB150EA2B8}"/>
          </ac:spMkLst>
        </pc:spChg>
        <pc:spChg chg="mod ord">
          <ac:chgData name="Selvyn Yovany Martinez Barahona" userId="3ccf779dc7355a40" providerId="LiveId" clId="{176DFD19-9071-4B24-AA88-5DC23F609659}" dt="2022-11-19T03:27:17.007" v="8186"/>
          <ac:spMkLst>
            <pc:docMk/>
            <pc:sldMk cId="849266544" sldId="256"/>
            <ac:spMk id="389" creationId="{761668BA-4084-A0C9-1315-764B23165AFC}"/>
          </ac:spMkLst>
        </pc:spChg>
        <pc:spChg chg="mod ord">
          <ac:chgData name="Selvyn Yovany Martinez Barahona" userId="3ccf779dc7355a40" providerId="LiveId" clId="{176DFD19-9071-4B24-AA88-5DC23F609659}" dt="2022-11-19T03:27:17.006" v="8180"/>
          <ac:spMkLst>
            <pc:docMk/>
            <pc:sldMk cId="849266544" sldId="256"/>
            <ac:spMk id="390" creationId="{5A361C12-95C9-5F06-4553-BA298A0D4878}"/>
          </ac:spMkLst>
        </pc:spChg>
        <pc:spChg chg="mod ord">
          <ac:chgData name="Selvyn Yovany Martinez Barahona" userId="3ccf779dc7355a40" providerId="LiveId" clId="{176DFD19-9071-4B24-AA88-5DC23F609659}" dt="2022-11-19T03:27:17.007" v="8184"/>
          <ac:spMkLst>
            <pc:docMk/>
            <pc:sldMk cId="849266544" sldId="256"/>
            <ac:spMk id="391" creationId="{9D0C0292-A91B-A51A-422D-523D00681132}"/>
          </ac:spMkLst>
        </pc:spChg>
        <pc:spChg chg="mod">
          <ac:chgData name="Selvyn Yovany Martinez Barahona" userId="3ccf779dc7355a40" providerId="LiveId" clId="{176DFD19-9071-4B24-AA88-5DC23F609659}" dt="2022-11-19T03:27:17.008" v="8189"/>
          <ac:spMkLst>
            <pc:docMk/>
            <pc:sldMk cId="849266544" sldId="256"/>
            <ac:spMk id="392" creationId="{AC2C9A98-FE6C-C979-12CC-1FDE567E04C6}"/>
          </ac:spMkLst>
        </pc:spChg>
        <pc:spChg chg="mod ord">
          <ac:chgData name="Selvyn Yovany Martinez Barahona" userId="3ccf779dc7355a40" providerId="LiveId" clId="{176DFD19-9071-4B24-AA88-5DC23F609659}" dt="2022-11-19T03:27:17.008" v="8188"/>
          <ac:spMkLst>
            <pc:docMk/>
            <pc:sldMk cId="849266544" sldId="256"/>
            <ac:spMk id="393" creationId="{8E7815A4-5393-807F-919E-046A6C31D741}"/>
          </ac:spMkLst>
        </pc:spChg>
        <pc:spChg chg="mod">
          <ac:chgData name="Selvyn Yovany Martinez Barahona" userId="3ccf779dc7355a40" providerId="LiveId" clId="{176DFD19-9071-4B24-AA88-5DC23F609659}" dt="2022-11-19T03:27:17.009" v="8190"/>
          <ac:spMkLst>
            <pc:docMk/>
            <pc:sldMk cId="849266544" sldId="256"/>
            <ac:spMk id="394" creationId="{6862160E-83C3-739C-81C9-3F8FCCDA48C6}"/>
          </ac:spMkLst>
        </pc:spChg>
        <pc:spChg chg="mod">
          <ac:chgData name="Selvyn Yovany Martinez Barahona" userId="3ccf779dc7355a40" providerId="LiveId" clId="{176DFD19-9071-4B24-AA88-5DC23F609659}" dt="2022-11-19T03:27:17.009" v="8191"/>
          <ac:spMkLst>
            <pc:docMk/>
            <pc:sldMk cId="849266544" sldId="256"/>
            <ac:spMk id="395" creationId="{57391670-30A4-EAC2-32E2-D9315693A9AC}"/>
          </ac:spMkLst>
        </pc:spChg>
        <pc:spChg chg="mod">
          <ac:chgData name="Selvyn Yovany Martinez Barahona" userId="3ccf779dc7355a40" providerId="LiveId" clId="{176DFD19-9071-4B24-AA88-5DC23F609659}" dt="2022-11-19T03:27:17.009" v="8192"/>
          <ac:spMkLst>
            <pc:docMk/>
            <pc:sldMk cId="849266544" sldId="256"/>
            <ac:spMk id="396" creationId="{7E6EDAA4-3319-9A94-5A27-347D4BF81F7F}"/>
          </ac:spMkLst>
        </pc:spChg>
        <pc:spChg chg="mod">
          <ac:chgData name="Selvyn Yovany Martinez Barahona" userId="3ccf779dc7355a40" providerId="LiveId" clId="{176DFD19-9071-4B24-AA88-5DC23F609659}" dt="2022-11-19T03:27:17.010" v="8193"/>
          <ac:spMkLst>
            <pc:docMk/>
            <pc:sldMk cId="849266544" sldId="256"/>
            <ac:spMk id="397" creationId="{8F139A8E-8B69-16D8-FF4D-4485EEEA81BF}"/>
          </ac:spMkLst>
        </pc:spChg>
        <pc:spChg chg="mod">
          <ac:chgData name="Selvyn Yovany Martinez Barahona" userId="3ccf779dc7355a40" providerId="LiveId" clId="{176DFD19-9071-4B24-AA88-5DC23F609659}" dt="2022-11-19T03:27:19.606" v="8211"/>
          <ac:spMkLst>
            <pc:docMk/>
            <pc:sldMk cId="849266544" sldId="256"/>
            <ac:spMk id="398" creationId="{E5A7DB12-3395-5216-4A11-B585E10FA73D}"/>
          </ac:spMkLst>
        </pc:spChg>
        <pc:spChg chg="mod">
          <ac:chgData name="Selvyn Yovany Martinez Barahona" userId="3ccf779dc7355a40" providerId="LiveId" clId="{176DFD19-9071-4B24-AA88-5DC23F609659}" dt="2022-11-19T03:27:19.607" v="8215"/>
          <ac:spMkLst>
            <pc:docMk/>
            <pc:sldMk cId="849266544" sldId="256"/>
            <ac:spMk id="399" creationId="{733610BC-6B23-F9CC-4330-A6823B338323}"/>
          </ac:spMkLst>
        </pc:spChg>
        <pc:spChg chg="mod">
          <ac:chgData name="Selvyn Yovany Martinez Barahona" userId="3ccf779dc7355a40" providerId="LiveId" clId="{176DFD19-9071-4B24-AA88-5DC23F609659}" dt="2022-11-19T03:27:19.606" v="8212"/>
          <ac:spMkLst>
            <pc:docMk/>
            <pc:sldMk cId="849266544" sldId="256"/>
            <ac:spMk id="400" creationId="{AB50C9EA-4642-5032-439C-1E2473352DFB}"/>
          </ac:spMkLst>
        </pc:spChg>
        <pc:spChg chg="mod">
          <ac:chgData name="Selvyn Yovany Martinez Barahona" userId="3ccf779dc7355a40" providerId="LiveId" clId="{176DFD19-9071-4B24-AA88-5DC23F609659}" dt="2022-11-19T03:27:19.607" v="8214"/>
          <ac:spMkLst>
            <pc:docMk/>
            <pc:sldMk cId="849266544" sldId="256"/>
            <ac:spMk id="401" creationId="{F6D3763C-E73F-53EA-3E70-A969BECD188A}"/>
          </ac:spMkLst>
        </pc:spChg>
        <pc:spChg chg="mod">
          <ac:chgData name="Selvyn Yovany Martinez Barahona" userId="3ccf779dc7355a40" providerId="LiveId" clId="{176DFD19-9071-4B24-AA88-5DC23F609659}" dt="2022-11-19T03:27:19.607" v="8213"/>
          <ac:spMkLst>
            <pc:docMk/>
            <pc:sldMk cId="849266544" sldId="256"/>
            <ac:spMk id="402" creationId="{DB2D3D2D-474F-2B4D-7F97-9D3614C3D2DB}"/>
          </ac:spMkLst>
        </pc:spChg>
        <pc:spChg chg="mod">
          <ac:chgData name="Selvyn Yovany Martinez Barahona" userId="3ccf779dc7355a40" providerId="LiveId" clId="{176DFD19-9071-4B24-AA88-5DC23F609659}" dt="2022-11-19T03:27:19.608" v="8216"/>
          <ac:spMkLst>
            <pc:docMk/>
            <pc:sldMk cId="849266544" sldId="256"/>
            <ac:spMk id="403" creationId="{2484883C-2B53-61DE-19E9-9F79FE260899}"/>
          </ac:spMkLst>
        </pc:spChg>
        <pc:spChg chg="mod">
          <ac:chgData name="Selvyn Yovany Martinez Barahona" userId="3ccf779dc7355a40" providerId="LiveId" clId="{176DFD19-9071-4B24-AA88-5DC23F609659}" dt="2022-11-19T03:27:19.610" v="8218"/>
          <ac:spMkLst>
            <pc:docMk/>
            <pc:sldMk cId="849266544" sldId="256"/>
            <ac:spMk id="438" creationId="{F01B8698-9294-F532-DDB4-2EE198CBAA21}"/>
          </ac:spMkLst>
        </pc:spChg>
        <pc:spChg chg="add del mod modVis">
          <ac:chgData name="Selvyn Yovany Martinez Barahona" userId="3ccf779dc7355a40" providerId="LiveId" clId="{176DFD19-9071-4B24-AA88-5DC23F609659}" dt="2022-11-08T00:30:19.137" v="318"/>
          <ac:spMkLst>
            <pc:docMk/>
            <pc:sldMk cId="849266544" sldId="256"/>
            <ac:spMk id="447" creationId="{BF90D960-C5A0-667B-C017-1ADD724FFD9C}"/>
          </ac:spMkLst>
        </pc:spChg>
        <pc:spChg chg="add del mod modVis">
          <ac:chgData name="Selvyn Yovany Martinez Barahona" userId="3ccf779dc7355a40" providerId="LiveId" clId="{176DFD19-9071-4B24-AA88-5DC23F609659}" dt="2022-11-08T00:30:32.181" v="511"/>
          <ac:spMkLst>
            <pc:docMk/>
            <pc:sldMk cId="849266544" sldId="256"/>
            <ac:spMk id="451" creationId="{AF3C9087-4FFD-14A9-5B21-4D7078B94799}"/>
          </ac:spMkLst>
        </pc:spChg>
        <pc:spChg chg="add del mod modVis">
          <ac:chgData name="Selvyn Yovany Martinez Barahona" userId="3ccf779dc7355a40" providerId="LiveId" clId="{176DFD19-9071-4B24-AA88-5DC23F609659}" dt="2022-11-08T00:30:42.685" v="704"/>
          <ac:spMkLst>
            <pc:docMk/>
            <pc:sldMk cId="849266544" sldId="256"/>
            <ac:spMk id="454" creationId="{024310F4-989F-8C07-201F-673991B93487}"/>
          </ac:spMkLst>
        </pc:spChg>
        <pc:spChg chg="add del mod modVis">
          <ac:chgData name="Selvyn Yovany Martinez Barahona" userId="3ccf779dc7355a40" providerId="LiveId" clId="{176DFD19-9071-4B24-AA88-5DC23F609659}" dt="2022-11-08T00:30:44.658" v="1268"/>
          <ac:spMkLst>
            <pc:docMk/>
            <pc:sldMk cId="849266544" sldId="256"/>
            <ac:spMk id="456" creationId="{E7245533-1999-F43B-7E29-DEF03F628C27}"/>
          </ac:spMkLst>
        </pc:spChg>
        <pc:spChg chg="add del mod ord replST">
          <ac:chgData name="Selvyn Yovany Martinez Barahona" userId="3ccf779dc7355a40" providerId="LiveId" clId="{176DFD19-9071-4B24-AA88-5DC23F609659}" dt="2022-11-19T03:27:16.995" v="8150"/>
          <ac:spMkLst>
            <pc:docMk/>
            <pc:sldMk cId="849266544" sldId="256"/>
            <ac:spMk id="457" creationId="{F01B8698-9294-F532-DDB4-2EE198CBAA21}"/>
          </ac:spMkLst>
        </pc:spChg>
        <pc:spChg chg="add del mod ord replST">
          <ac:chgData name="Selvyn Yovany Martinez Barahona" userId="3ccf779dc7355a40" providerId="LiveId" clId="{176DFD19-9071-4B24-AA88-5DC23F609659}" dt="2022-11-19T03:27:16.996" v="8152"/>
          <ac:spMkLst>
            <pc:docMk/>
            <pc:sldMk cId="849266544" sldId="256"/>
            <ac:spMk id="458" creationId="{F01B8698-9294-F532-DDB4-2EE198CBAA21}"/>
          </ac:spMkLst>
        </pc:spChg>
        <pc:spChg chg="add del mod ord replST">
          <ac:chgData name="Selvyn Yovany Martinez Barahona" userId="3ccf779dc7355a40" providerId="LiveId" clId="{176DFD19-9071-4B24-AA88-5DC23F609659}" dt="2022-11-19T03:27:16.997" v="8154"/>
          <ac:spMkLst>
            <pc:docMk/>
            <pc:sldMk cId="849266544" sldId="256"/>
            <ac:spMk id="459" creationId="{F01B8698-9294-F532-DDB4-2EE198CBAA21}"/>
          </ac:spMkLst>
        </pc:spChg>
        <pc:spChg chg="add del mod ord replST">
          <ac:chgData name="Selvyn Yovany Martinez Barahona" userId="3ccf779dc7355a40" providerId="LiveId" clId="{176DFD19-9071-4B24-AA88-5DC23F609659}" dt="2022-11-19T03:27:16.997" v="8156"/>
          <ac:spMkLst>
            <pc:docMk/>
            <pc:sldMk cId="849266544" sldId="256"/>
            <ac:spMk id="460" creationId="{F01B8698-9294-F532-DDB4-2EE198CBAA21}"/>
          </ac:spMkLst>
        </pc:spChg>
        <pc:spChg chg="add del mod ord replST">
          <ac:chgData name="Selvyn Yovany Martinez Barahona" userId="3ccf779dc7355a40" providerId="LiveId" clId="{176DFD19-9071-4B24-AA88-5DC23F609659}" dt="2022-11-19T03:27:16.995" v="8148"/>
          <ac:spMkLst>
            <pc:docMk/>
            <pc:sldMk cId="849266544" sldId="256"/>
            <ac:spMk id="461" creationId="{F01B8698-9294-F532-DDB4-2EE198CBAA21}"/>
          </ac:spMkLst>
        </pc:spChg>
        <pc:spChg chg="add del mod modVis">
          <ac:chgData name="Selvyn Yovany Martinez Barahona" userId="3ccf779dc7355a40" providerId="LiveId" clId="{176DFD19-9071-4B24-AA88-5DC23F609659}" dt="2022-11-08T00:33:47.020" v="2583" actId="962"/>
          <ac:spMkLst>
            <pc:docMk/>
            <pc:sldMk cId="849266544" sldId="256"/>
            <ac:spMk id="464" creationId="{AFA32FEB-4726-A115-0A7B-3750501E13DA}"/>
          </ac:spMkLst>
        </pc:spChg>
        <pc:spChg chg="add del mod replST delST">
          <ac:chgData name="Selvyn Yovany Martinez Barahona" userId="3ccf779dc7355a40" providerId="LiveId" clId="{176DFD19-9071-4B24-AA88-5DC23F609659}" dt="2022-11-08T00:33:45.132" v="2447"/>
          <ac:spMkLst>
            <pc:docMk/>
            <pc:sldMk cId="849266544" sldId="256"/>
            <ac:spMk id="468" creationId="{F01B8698-9294-F532-DDB4-2EE198CBAA21}"/>
          </ac:spMkLst>
        </pc:spChg>
        <pc:spChg chg="add del mod modVis">
          <ac:chgData name="Selvyn Yovany Martinez Barahona" userId="3ccf779dc7355a40" providerId="LiveId" clId="{176DFD19-9071-4B24-AA88-5DC23F609659}" dt="2022-11-08T00:33:45.132" v="2447"/>
          <ac:spMkLst>
            <pc:docMk/>
            <pc:sldMk cId="849266544" sldId="256"/>
            <ac:spMk id="469" creationId="{33044A17-34E3-B11D-D299-466C139DF639}"/>
          </ac:spMkLst>
        </pc:spChg>
        <pc:spChg chg="add mod replST delST">
          <ac:chgData name="Selvyn Yovany Martinez Barahona" userId="3ccf779dc7355a40" providerId="LiveId" clId="{176DFD19-9071-4B24-AA88-5DC23F609659}" dt="2022-11-08T00:33:45.132" v="2447"/>
          <ac:spMkLst>
            <pc:docMk/>
            <pc:sldMk cId="849266544" sldId="256"/>
            <ac:spMk id="471" creationId="{F01B8698-9294-F532-DDB4-2EE198CBAA21}"/>
          </ac:spMkLst>
        </pc:spChg>
        <pc:spChg chg="add del mod modVis">
          <ac:chgData name="Selvyn Yovany Martinez Barahona" userId="3ccf779dc7355a40" providerId="LiveId" clId="{176DFD19-9071-4B24-AA88-5DC23F609659}" dt="2022-11-08T00:33:45.132" v="2447"/>
          <ac:spMkLst>
            <pc:docMk/>
            <pc:sldMk cId="849266544" sldId="256"/>
            <ac:spMk id="472" creationId="{8B1A7DAD-947B-4C5F-3C19-28BE78AE9BCA}"/>
          </ac:spMkLst>
        </pc:spChg>
        <pc:spChg chg="add del mod modVis">
          <ac:chgData name="Selvyn Yovany Martinez Barahona" userId="3ccf779dc7355a40" providerId="LiveId" clId="{176DFD19-9071-4B24-AA88-5DC23F609659}" dt="2022-11-08T00:33:44.234" v="2229"/>
          <ac:spMkLst>
            <pc:docMk/>
            <pc:sldMk cId="849266544" sldId="256"/>
            <ac:spMk id="474" creationId="{12BDC72C-847B-096B-F025-BF3A4D463DD0}"/>
          </ac:spMkLst>
        </pc:spChg>
        <pc:graphicFrameChg chg="add del mod ord replST">
          <ac:chgData name="Selvyn Yovany Martinez Barahona" userId="3ccf779dc7355a40" providerId="LiveId" clId="{176DFD19-9071-4B24-AA88-5DC23F609659}" dt="2022-11-19T03:20:00.522" v="2960"/>
          <ac:graphicFrameMkLst>
            <pc:docMk/>
            <pc:sldMk cId="849266544" sldId="256"/>
            <ac:graphicFrameMk id="3" creationId="{D2E8DBCA-E70C-D175-5372-A226706F5712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0:05.389" v="3174"/>
          <ac:graphicFrameMkLst>
            <pc:docMk/>
            <pc:sldMk cId="849266544" sldId="256"/>
            <ac:graphicFrameMk id="4" creationId="{10278C6B-1D83-1D57-F46B-9D8A94D75795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0:08.433" v="3269"/>
          <ac:graphicFrameMkLst>
            <pc:docMk/>
            <pc:sldMk cId="849266544" sldId="256"/>
            <ac:graphicFrameMk id="6" creationId="{9E537AE7-5A24-85CD-A329-E58B7048CB73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0:08.475" v="3330"/>
          <ac:graphicFrameMkLst>
            <pc:docMk/>
            <pc:sldMk cId="849266544" sldId="256"/>
            <ac:graphicFrameMk id="7" creationId="{416E0771-0770-B183-47C7-0F2F7BFACA70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0:10.207" v="3419"/>
          <ac:graphicFrameMkLst>
            <pc:docMk/>
            <pc:sldMk cId="849266544" sldId="256"/>
            <ac:graphicFrameMk id="8" creationId="{7209EADE-AAA4-3A32-7350-67F4CDE6B1E2}"/>
          </ac:graphicFrameMkLst>
        </pc:graphicFrameChg>
        <pc:graphicFrameChg chg="mod">
          <ac:chgData name="Selvyn Yovany Martinez Barahona" userId="3ccf779dc7355a40" providerId="LiveId" clId="{176DFD19-9071-4B24-AA88-5DC23F609659}" dt="2022-11-19T03:27:19.622" v="8222"/>
          <ac:graphicFrameMkLst>
            <pc:docMk/>
            <pc:sldMk cId="849266544" sldId="256"/>
            <ac:graphicFrameMk id="9" creationId="{94F6DDB2-4988-6D60-A3BC-07C92A74F16B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0:10.239" v="3454"/>
          <ac:graphicFrameMkLst>
            <pc:docMk/>
            <pc:sldMk cId="849266544" sldId="256"/>
            <ac:graphicFrameMk id="10" creationId="{95CBBE71-0858-FFBC-2BB1-90AD6B346B72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0:14.190" v="3543"/>
          <ac:graphicFrameMkLst>
            <pc:docMk/>
            <pc:sldMk cId="849266544" sldId="256"/>
            <ac:graphicFrameMk id="11" creationId="{8B0767A3-C378-5577-EC7B-D3ACFEBAE88C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0:14.234" v="3604"/>
          <ac:graphicFrameMkLst>
            <pc:docMk/>
            <pc:sldMk cId="849266544" sldId="256"/>
            <ac:graphicFrameMk id="12" creationId="{92D3DA75-A56B-979B-31A0-5BA1BB3FFAAB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0:17.553" v="3693"/>
          <ac:graphicFrameMkLst>
            <pc:docMk/>
            <pc:sldMk cId="849266544" sldId="256"/>
            <ac:graphicFrameMk id="13" creationId="{964C4D50-A7E0-C433-5562-ED1EF614725E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0:17.593" v="3754"/>
          <ac:graphicFrameMkLst>
            <pc:docMk/>
            <pc:sldMk cId="849266544" sldId="256"/>
            <ac:graphicFrameMk id="14" creationId="{07F1C259-7432-4C18-E60E-ED298D628AA1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0:19.679" v="3843"/>
          <ac:graphicFrameMkLst>
            <pc:docMk/>
            <pc:sldMk cId="849266544" sldId="256"/>
            <ac:graphicFrameMk id="15" creationId="{4B57CAFC-7C43-BB84-C3C0-8B202DC8C136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0:19.727" v="3904"/>
          <ac:graphicFrameMkLst>
            <pc:docMk/>
            <pc:sldMk cId="849266544" sldId="256"/>
            <ac:graphicFrameMk id="16" creationId="{D534D00F-7FAF-80C8-7D90-1386AD7CBDC5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0:32.340" v="3993"/>
          <ac:graphicFrameMkLst>
            <pc:docMk/>
            <pc:sldMk cId="849266544" sldId="256"/>
            <ac:graphicFrameMk id="17" creationId="{49582835-FF71-4216-F7D6-44C9FCD96AF4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0:32.385" v="4058"/>
          <ac:graphicFrameMkLst>
            <pc:docMk/>
            <pc:sldMk cId="849266544" sldId="256"/>
            <ac:graphicFrameMk id="18" creationId="{D6E3F8EC-9E37-B119-7748-3E3A9BD034DE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0:44.418" v="4151"/>
          <ac:graphicFrameMkLst>
            <pc:docMk/>
            <pc:sldMk cId="849266544" sldId="256"/>
            <ac:graphicFrameMk id="19" creationId="{7E8EAAC4-1B6C-6BFC-3924-FD59C66EC602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0:44.454" v="4190"/>
          <ac:graphicFrameMkLst>
            <pc:docMk/>
            <pc:sldMk cId="849266544" sldId="256"/>
            <ac:graphicFrameMk id="20" creationId="{CA415FB2-8369-03FC-D916-3D07A06857CE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0:56.338" v="4401"/>
          <ac:graphicFrameMkLst>
            <pc:docMk/>
            <pc:sldMk cId="849266544" sldId="256"/>
            <ac:graphicFrameMk id="21" creationId="{910A2FC8-357C-C22A-0986-C82E28EC10E3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0:56.366" v="4418"/>
          <ac:graphicFrameMkLst>
            <pc:docMk/>
            <pc:sldMk cId="849266544" sldId="256"/>
            <ac:graphicFrameMk id="22" creationId="{E3DA1DF7-CC80-88B7-3C5B-DFE7A46990CF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0:59.608" v="4511"/>
          <ac:graphicFrameMkLst>
            <pc:docMk/>
            <pc:sldMk cId="849266544" sldId="256"/>
            <ac:graphicFrameMk id="23" creationId="{FAD68086-A7FC-6A9D-101B-43701C182804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0:59.633" v="4524"/>
          <ac:graphicFrameMkLst>
            <pc:docMk/>
            <pc:sldMk cId="849266544" sldId="256"/>
            <ac:graphicFrameMk id="24" creationId="{499739CB-30B2-A7B9-813E-510715478E1B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1:08.359" v="4611"/>
          <ac:graphicFrameMkLst>
            <pc:docMk/>
            <pc:sldMk cId="849266544" sldId="256"/>
            <ac:graphicFrameMk id="25" creationId="{E69633D2-86DD-40A5-B3DB-49D5B6940E02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1:08.384" v="4628"/>
          <ac:graphicFrameMkLst>
            <pc:docMk/>
            <pc:sldMk cId="849266544" sldId="256"/>
            <ac:graphicFrameMk id="26" creationId="{F73456C1-36A8-FB8D-424B-AE8FB6E672CD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1:14.253" v="4745"/>
          <ac:graphicFrameMkLst>
            <pc:docMk/>
            <pc:sldMk cId="849266544" sldId="256"/>
            <ac:graphicFrameMk id="27" creationId="{E1EF9030-A26C-AC12-B9A4-535491E47D0F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1:14.288" v="4800"/>
          <ac:graphicFrameMkLst>
            <pc:docMk/>
            <pc:sldMk cId="849266544" sldId="256"/>
            <ac:graphicFrameMk id="28" creationId="{827BA7AA-2938-AE51-B475-A5D635E30790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1:22.671" v="4893"/>
          <ac:graphicFrameMkLst>
            <pc:docMk/>
            <pc:sldMk cId="849266544" sldId="256"/>
            <ac:graphicFrameMk id="29" creationId="{66E469EE-0A39-FA51-AD4F-0268E0665117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1:22.694" v="4906"/>
          <ac:graphicFrameMkLst>
            <pc:docMk/>
            <pc:sldMk cId="849266544" sldId="256"/>
            <ac:graphicFrameMk id="30" creationId="{C48CD50D-C055-453E-F5E2-861781AB6C39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5:00.010" v="5019"/>
          <ac:graphicFrameMkLst>
            <pc:docMk/>
            <pc:sldMk cId="849266544" sldId="256"/>
            <ac:graphicFrameMk id="31" creationId="{02EF4456-ED62-AF2F-9752-E4E82B83B089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5:00.053" v="5076"/>
          <ac:graphicFrameMkLst>
            <pc:docMk/>
            <pc:sldMk cId="849266544" sldId="256"/>
            <ac:graphicFrameMk id="32" creationId="{D5B01CAB-F785-15DD-C548-A37922663161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5:04.862" v="5167"/>
          <ac:graphicFrameMkLst>
            <pc:docMk/>
            <pc:sldMk cId="849266544" sldId="256"/>
            <ac:graphicFrameMk id="33" creationId="{A95C019E-7EF8-AD8E-4F74-62DC33BE8AA4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5:04.894" v="5200"/>
          <ac:graphicFrameMkLst>
            <pc:docMk/>
            <pc:sldMk cId="849266544" sldId="256"/>
            <ac:graphicFrameMk id="34" creationId="{0DBA75F6-EFAC-1D0D-C421-7DAA3328D82E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5:08.431" v="5291"/>
          <ac:graphicFrameMkLst>
            <pc:docMk/>
            <pc:sldMk cId="849266544" sldId="256"/>
            <ac:graphicFrameMk id="35" creationId="{B8F0B766-2611-0A62-AB06-13071C4F6013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5:08.464" v="5328"/>
          <ac:graphicFrameMkLst>
            <pc:docMk/>
            <pc:sldMk cId="849266544" sldId="256"/>
            <ac:graphicFrameMk id="36" creationId="{4A6CD39E-5F3A-0D5C-8CA9-01E05D398656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5:10.067" v="5421"/>
          <ac:graphicFrameMkLst>
            <pc:docMk/>
            <pc:sldMk cId="849266544" sldId="256"/>
            <ac:graphicFrameMk id="37" creationId="{7AEC5B8F-C055-12E5-EB0C-5E6A7CE1B19F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5:10.101" v="5458"/>
          <ac:graphicFrameMkLst>
            <pc:docMk/>
            <pc:sldMk cId="849266544" sldId="256"/>
            <ac:graphicFrameMk id="38" creationId="{B951F857-80EE-2D8D-DC48-50BA9FB5F957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5:12.967" v="5551"/>
          <ac:graphicFrameMkLst>
            <pc:docMk/>
            <pc:sldMk cId="849266544" sldId="256"/>
            <ac:graphicFrameMk id="39" creationId="{3ABAF718-F084-7B7E-1E77-3FCC074D40C0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5:13.015" v="5614"/>
          <ac:graphicFrameMkLst>
            <pc:docMk/>
            <pc:sldMk cId="849266544" sldId="256"/>
            <ac:graphicFrameMk id="40" creationId="{17913FCB-5911-33E6-3964-FF11F03E9297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5:14.554" v="5707"/>
          <ac:graphicFrameMkLst>
            <pc:docMk/>
            <pc:sldMk cId="849266544" sldId="256"/>
            <ac:graphicFrameMk id="41" creationId="{611A52EA-4C20-B889-B1C7-71DEB4ADD9A6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5:14.602" v="5770"/>
          <ac:graphicFrameMkLst>
            <pc:docMk/>
            <pc:sldMk cId="849266544" sldId="256"/>
            <ac:graphicFrameMk id="42" creationId="{23BF523D-ACE5-2C6C-B898-B7ED54ABC1EE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5:16.894" v="5863"/>
          <ac:graphicFrameMkLst>
            <pc:docMk/>
            <pc:sldMk cId="849266544" sldId="256"/>
            <ac:graphicFrameMk id="43" creationId="{6AA2F400-F146-A6CB-74D1-86383F4E8495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5:16.923" v="5896"/>
          <ac:graphicFrameMkLst>
            <pc:docMk/>
            <pc:sldMk cId="849266544" sldId="256"/>
            <ac:graphicFrameMk id="44" creationId="{7555B252-5EF8-1282-458E-B9A5D0BE6A86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5:19.225" v="5987"/>
          <ac:graphicFrameMkLst>
            <pc:docMk/>
            <pc:sldMk cId="849266544" sldId="256"/>
            <ac:graphicFrameMk id="45" creationId="{27A4A471-5649-28EB-433C-0D1A7ED06D2B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5:19.254" v="6020"/>
          <ac:graphicFrameMkLst>
            <pc:docMk/>
            <pc:sldMk cId="849266544" sldId="256"/>
            <ac:graphicFrameMk id="46" creationId="{739A2F37-3CCF-97A1-C119-755F39607E82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5:32.634" v="6149"/>
          <ac:graphicFrameMkLst>
            <pc:docMk/>
            <pc:sldMk cId="849266544" sldId="256"/>
            <ac:graphicFrameMk id="47" creationId="{8ACEEAFB-869D-B827-46F3-E254D4F53CBC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5:32.658" v="6164"/>
          <ac:graphicFrameMkLst>
            <pc:docMk/>
            <pc:sldMk cId="849266544" sldId="256"/>
            <ac:graphicFrameMk id="48" creationId="{6F0DCCB7-1866-8481-9202-2BB522C5D15D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5:47.212" v="6300"/>
          <ac:graphicFrameMkLst>
            <pc:docMk/>
            <pc:sldMk cId="849266544" sldId="256"/>
            <ac:graphicFrameMk id="49" creationId="{8D1D6577-21A2-FC61-BDA9-44919FE67F00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5:47.237" v="6313"/>
          <ac:graphicFrameMkLst>
            <pc:docMk/>
            <pc:sldMk cId="849266544" sldId="256"/>
            <ac:graphicFrameMk id="50" creationId="{6612326E-FAF0-5488-064E-D83ABF6675F0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6:40.635" v="7387"/>
          <ac:graphicFrameMkLst>
            <pc:docMk/>
            <pc:sldMk cId="849266544" sldId="256"/>
            <ac:graphicFrameMk id="51" creationId="{E553924D-7DA8-15C0-529A-E315771DBE66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6:40.720" v="7438"/>
          <ac:graphicFrameMkLst>
            <pc:docMk/>
            <pc:sldMk cId="849266544" sldId="256"/>
            <ac:graphicFrameMk id="52" creationId="{D8784020-BF09-EC5E-43F7-D2A70B7B876F}"/>
          </ac:graphicFrameMkLst>
        </pc:graphicFrameChg>
        <pc:graphicFrameChg chg="add del mod ord replST delST">
          <ac:chgData name="Selvyn Yovany Martinez Barahona" userId="3ccf779dc7355a40" providerId="LiveId" clId="{176DFD19-9071-4B24-AA88-5DC23F609659}" dt="2022-11-19T03:26:14.359" v="6762"/>
          <ac:graphicFrameMkLst>
            <pc:docMk/>
            <pc:sldMk cId="849266544" sldId="256"/>
            <ac:graphicFrameMk id="53" creationId="{D82F98DD-E9B8-8AC8-AF5C-EA1CFAF0EA5D}"/>
          </ac:graphicFrameMkLst>
        </pc:graphicFrameChg>
        <pc:graphicFrameChg chg="add del mod ord replST delST">
          <ac:chgData name="Selvyn Yovany Martinez Barahona" userId="3ccf779dc7355a40" providerId="LiveId" clId="{176DFD19-9071-4B24-AA88-5DC23F609659}" dt="2022-11-19T03:26:14.359" v="6762"/>
          <ac:graphicFrameMkLst>
            <pc:docMk/>
            <pc:sldMk cId="849266544" sldId="256"/>
            <ac:graphicFrameMk id="54" creationId="{BC7E3DC2-758F-98E2-66F7-DA95C7B1F357}"/>
          </ac:graphicFrameMkLst>
        </pc:graphicFrameChg>
        <pc:graphicFrameChg chg="add mod ord replST delST">
          <ac:chgData name="Selvyn Yovany Martinez Barahona" userId="3ccf779dc7355a40" providerId="LiveId" clId="{176DFD19-9071-4B24-AA88-5DC23F609659}" dt="2022-11-19T03:26:13.495" v="6711"/>
          <ac:graphicFrameMkLst>
            <pc:docMk/>
            <pc:sldMk cId="849266544" sldId="256"/>
            <ac:graphicFrameMk id="55" creationId="{EB49AA64-62AC-B6D1-191A-B2994478409C}"/>
          </ac:graphicFrameMkLst>
        </pc:graphicFrameChg>
        <pc:graphicFrameChg chg="add mod ord replST delST">
          <ac:chgData name="Selvyn Yovany Martinez Barahona" userId="3ccf779dc7355a40" providerId="LiveId" clId="{176DFD19-9071-4B24-AA88-5DC23F609659}" dt="2022-11-19T03:26:13.495" v="6711"/>
          <ac:graphicFrameMkLst>
            <pc:docMk/>
            <pc:sldMk cId="849266544" sldId="256"/>
            <ac:graphicFrameMk id="56" creationId="{859BF745-175C-C2D7-0510-20DD329CA736}"/>
          </ac:graphicFrameMkLst>
        </pc:graphicFrameChg>
        <pc:graphicFrameChg chg="add mod ord replST delST">
          <ac:chgData name="Selvyn Yovany Martinez Barahona" userId="3ccf779dc7355a40" providerId="LiveId" clId="{176DFD19-9071-4B24-AA88-5DC23F609659}" dt="2022-11-19T03:26:25.617" v="7224"/>
          <ac:graphicFrameMkLst>
            <pc:docMk/>
            <pc:sldMk cId="849266544" sldId="256"/>
            <ac:graphicFrameMk id="59" creationId="{D0A59F42-3243-25BC-6BD1-561FFB2BDBD9}"/>
          </ac:graphicFrameMkLst>
        </pc:graphicFrameChg>
        <pc:graphicFrameChg chg="add mod ord replST delST">
          <ac:chgData name="Selvyn Yovany Martinez Barahona" userId="3ccf779dc7355a40" providerId="LiveId" clId="{176DFD19-9071-4B24-AA88-5DC23F609659}" dt="2022-11-19T03:26:25.617" v="7224"/>
          <ac:graphicFrameMkLst>
            <pc:docMk/>
            <pc:sldMk cId="849266544" sldId="256"/>
            <ac:graphicFrameMk id="60" creationId="{C688A959-3172-3AB2-EFEE-E62986C46ABA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6:42.326" v="7532"/>
          <ac:graphicFrameMkLst>
            <pc:docMk/>
            <pc:sldMk cId="849266544" sldId="256"/>
            <ac:graphicFrameMk id="63" creationId="{1BEC7C37-833F-964E-FF43-1C088BF9E3D8}"/>
          </ac:graphicFrameMkLst>
        </pc:graphicFrameChg>
        <pc:graphicFrameChg chg="del">
          <ac:chgData name="Selvyn Yovany Martinez Barahona" userId="3ccf779dc7355a40" providerId="LiveId" clId="{176DFD19-9071-4B24-AA88-5DC23F609659}" dt="2022-11-08T00:30:19.095" v="247"/>
          <ac:graphicFrameMkLst>
            <pc:docMk/>
            <pc:sldMk cId="849266544" sldId="256"/>
            <ac:graphicFrameMk id="445" creationId="{A350EA1E-8F2E-86C1-EE27-46E4A1B69F6A}"/>
          </ac:graphicFrameMkLst>
        </pc:graphicFrameChg>
        <pc:graphicFrameChg chg="del">
          <ac:chgData name="Selvyn Yovany Martinez Barahona" userId="3ccf779dc7355a40" providerId="LiveId" clId="{176DFD19-9071-4B24-AA88-5DC23F609659}" dt="2022-11-08T00:30:19.114" v="262"/>
          <ac:graphicFrameMkLst>
            <pc:docMk/>
            <pc:sldMk cId="849266544" sldId="256"/>
            <ac:graphicFrameMk id="446" creationId="{65D56728-2A2D-5815-8F3F-AFB0396FBFA7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26.354" v="336"/>
          <ac:graphicFrameMkLst>
            <pc:docMk/>
            <pc:sldMk cId="849266544" sldId="256"/>
            <ac:graphicFrameMk id="448" creationId="{2ADC7BE8-DE69-3849-FFD3-DD4D2FF9CB66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6:42.353" v="7545"/>
          <ac:graphicFrameMkLst>
            <pc:docMk/>
            <pc:sldMk cId="849266544" sldId="256"/>
            <ac:graphicFrameMk id="448" creationId="{36989CB9-BC05-9169-6B55-F1B2F8C8F6C9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6:47.084" v="7635"/>
          <ac:graphicFrameMkLst>
            <pc:docMk/>
            <pc:sldMk cId="849266544" sldId="256"/>
            <ac:graphicFrameMk id="449" creationId="{087353B7-D309-CA92-A7DE-E3B126004DBC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44.639" v="1202"/>
          <ac:graphicFrameMkLst>
            <pc:docMk/>
            <pc:sldMk cId="849266544" sldId="256"/>
            <ac:graphicFrameMk id="449" creationId="{952F918A-EA36-6C76-C97E-16A59C6797CD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32.157" v="455"/>
          <ac:graphicFrameMkLst>
            <pc:docMk/>
            <pc:sldMk cId="849266544" sldId="256"/>
            <ac:graphicFrameMk id="450" creationId="{271A37D0-85D3-20C0-E39B-D55978945731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6:47.127" v="7688"/>
          <ac:graphicFrameMkLst>
            <pc:docMk/>
            <pc:sldMk cId="849266544" sldId="256"/>
            <ac:graphicFrameMk id="450" creationId="{90205274-D1BE-44EB-99B3-3D37E68FA1D2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6:55.182" v="7777"/>
          <ac:graphicFrameMkLst>
            <pc:docMk/>
            <pc:sldMk cId="849266544" sldId="256"/>
            <ac:graphicFrameMk id="451" creationId="{176E0BB6-0507-7147-9F4E-B033527BBD41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6:55.212" v="7794"/>
          <ac:graphicFrameMkLst>
            <pc:docMk/>
            <pc:sldMk cId="849266544" sldId="256"/>
            <ac:graphicFrameMk id="452" creationId="{1FCFA108-8B04-E534-7C47-9C23C9ED2667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37.632" v="529"/>
          <ac:graphicFrameMkLst>
            <pc:docMk/>
            <pc:sldMk cId="849266544" sldId="256"/>
            <ac:graphicFrameMk id="452" creationId="{7F3FF725-2A47-BE20-1B08-92318A058139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7:02.058" v="7885"/>
          <ac:graphicFrameMkLst>
            <pc:docMk/>
            <pc:sldMk cId="849266544" sldId="256"/>
            <ac:graphicFrameMk id="453" creationId="{16115563-F5DE-CB1D-60AF-AD5A5D597A1E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42.662" v="648"/>
          <ac:graphicFrameMkLst>
            <pc:docMk/>
            <pc:sldMk cId="849266544" sldId="256"/>
            <ac:graphicFrameMk id="453" creationId="{FB9BCF33-DE14-0096-FF06-5723D8B9F76B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7:02.087" v="7902"/>
          <ac:graphicFrameMkLst>
            <pc:docMk/>
            <pc:sldMk cId="849266544" sldId="256"/>
            <ac:graphicFrameMk id="454" creationId="{F3E053AE-71C5-A8B0-2C5D-189B0197D6FC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0:30:44.627" v="1187"/>
          <ac:graphicFrameMkLst>
            <pc:docMk/>
            <pc:sldMk cId="849266544" sldId="256"/>
            <ac:graphicFrameMk id="455" creationId="{9C0090BD-66B9-1F53-2D37-5B70FF7AAAB9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7:07.614" v="7991"/>
          <ac:graphicFrameMkLst>
            <pc:docMk/>
            <pc:sldMk cId="849266544" sldId="256"/>
            <ac:graphicFrameMk id="455" creationId="{A43D170B-85CA-D239-A40E-128C5E53E024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7:07.642" v="8008"/>
          <ac:graphicFrameMkLst>
            <pc:docMk/>
            <pc:sldMk cId="849266544" sldId="256"/>
            <ac:graphicFrameMk id="456" creationId="{688040C7-8ABC-180B-4585-5FD5B8F8CA84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0:05.333" v="3109"/>
          <ac:graphicFrameMkLst>
            <pc:docMk/>
            <pc:sldMk cId="849266544" sldId="256"/>
            <ac:graphicFrameMk id="462" creationId="{FE7E016F-660B-7432-CC61-F44D24B69DED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08T05:29:39.181" v="2768"/>
          <ac:graphicFrameMkLst>
            <pc:docMk/>
            <pc:sldMk cId="849266544" sldId="256"/>
            <ac:graphicFrameMk id="463" creationId="{3A984127-996E-BA42-FDDD-4539A83BB14B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7:16.937" v="8099"/>
          <ac:graphicFrameMkLst>
            <pc:docMk/>
            <pc:sldMk cId="849266544" sldId="256"/>
            <ac:graphicFrameMk id="463" creationId="{3C7AE72C-4023-2E6E-A9F7-C1F225E365BD}"/>
          </ac:graphicFrameMkLst>
        </pc:graphicFrameChg>
        <pc:graphicFrameChg chg="add del mod ord replST">
          <ac:chgData name="Selvyn Yovany Martinez Barahona" userId="3ccf779dc7355a40" providerId="LiveId" clId="{176DFD19-9071-4B24-AA88-5DC23F609659}" dt="2022-11-19T03:27:16.966" v="8112"/>
          <ac:graphicFrameMkLst>
            <pc:docMk/>
            <pc:sldMk cId="849266544" sldId="256"/>
            <ac:graphicFrameMk id="464" creationId="{4FED833C-C698-F701-A34D-CD78B9EA7FCB}"/>
          </ac:graphicFrameMkLst>
        </pc:graphicFrameChg>
        <pc:graphicFrameChg chg="add del mod ord replST delST">
          <ac:chgData name="Selvyn Yovany Martinez Barahona" userId="3ccf779dc7355a40" providerId="LiveId" clId="{176DFD19-9071-4B24-AA88-5DC23F609659}" dt="2022-11-08T00:33:47.002" v="2499" actId="1076"/>
          <ac:graphicFrameMkLst>
            <pc:docMk/>
            <pc:sldMk cId="849266544" sldId="256"/>
            <ac:graphicFrameMk id="465" creationId="{E80F7508-93FE-C19F-C6AE-87DE146340DC}"/>
          </ac:graphicFrameMkLst>
        </pc:graphicFrameChg>
        <pc:graphicFrameChg chg="add mod ord replST">
          <ac:chgData name="Selvyn Yovany Martinez Barahona" userId="3ccf779dc7355a40" providerId="LiveId" clId="{176DFD19-9071-4B24-AA88-5DC23F609659}" dt="2022-11-19T03:27:16.994" v="8146"/>
          <ac:graphicFrameMkLst>
            <pc:docMk/>
            <pc:sldMk cId="849266544" sldId="256"/>
            <ac:graphicFrameMk id="465" creationId="{F65BFDD9-B94A-5DF0-B040-89637F8D1BD7}"/>
          </ac:graphicFrameMkLst>
        </pc:graphicFrameChg>
        <pc:graphicFrameChg chg="add mod ord replST">
          <ac:chgData name="Selvyn Yovany Martinez Barahona" userId="3ccf779dc7355a40" providerId="LiveId" clId="{176DFD19-9071-4B24-AA88-5DC23F609659}" dt="2022-11-19T03:27:17.005" v="8176"/>
          <ac:graphicFrameMkLst>
            <pc:docMk/>
            <pc:sldMk cId="849266544" sldId="256"/>
            <ac:graphicFrameMk id="466" creationId="{3E3198C3-C4F8-578B-8084-83A2A65F0F82}"/>
          </ac:graphicFrameMkLst>
        </pc:graphicFrameChg>
        <pc:graphicFrameChg chg="add mod ord replST delST">
          <ac:chgData name="Selvyn Yovany Martinez Barahona" userId="3ccf779dc7355a40" providerId="LiveId" clId="{176DFD19-9071-4B24-AA88-5DC23F609659}" dt="2022-11-08T00:33:47" v="2490" actId="1076"/>
          <ac:graphicFrameMkLst>
            <pc:docMk/>
            <pc:sldMk cId="849266544" sldId="256"/>
            <ac:graphicFrameMk id="466" creationId="{CD531800-BBAC-7DB6-290E-263C489B6B9E}"/>
          </ac:graphicFrameMkLst>
        </pc:graphicFrameChg>
        <pc:graphicFrameChg chg="add del mod ord replST delST">
          <ac:chgData name="Selvyn Yovany Martinez Barahona" userId="3ccf779dc7355a40" providerId="LiveId" clId="{176DFD19-9071-4B24-AA88-5DC23F609659}" dt="2022-11-08T00:33:45.719" v="2469"/>
          <ac:graphicFrameMkLst>
            <pc:docMk/>
            <pc:sldMk cId="849266544" sldId="256"/>
            <ac:graphicFrameMk id="467" creationId="{3D68EE8B-D5DE-71BC-E783-FA6537FC6110}"/>
          </ac:graphicFrameMkLst>
        </pc:graphicFrameChg>
        <pc:graphicFrameChg chg="add del mod ord replST delST">
          <ac:chgData name="Selvyn Yovany Martinez Barahona" userId="3ccf779dc7355a40" providerId="LiveId" clId="{176DFD19-9071-4B24-AA88-5DC23F609659}" dt="2022-11-08T00:33:45.132" v="2447"/>
          <ac:graphicFrameMkLst>
            <pc:docMk/>
            <pc:sldMk cId="849266544" sldId="256"/>
            <ac:graphicFrameMk id="470" creationId="{A270799A-9B3A-D67B-B9FB-8F4DEBC286B9}"/>
          </ac:graphicFrameMkLst>
        </pc:graphicFrameChg>
        <pc:graphicFrameChg chg="add del mod ord replST delST">
          <ac:chgData name="Selvyn Yovany Martinez Barahona" userId="3ccf779dc7355a40" providerId="LiveId" clId="{176DFD19-9071-4B24-AA88-5DC23F609659}" dt="2022-11-08T00:33:45.132" v="2447"/>
          <ac:graphicFrameMkLst>
            <pc:docMk/>
            <pc:sldMk cId="849266544" sldId="256"/>
            <ac:graphicFrameMk id="473" creationId="{8952AE4A-8006-92D0-2502-8B04780502C1}"/>
          </ac:graphicFrameMkLst>
        </pc:graphicFrameChg>
        <pc:graphicFrameChg chg="add del mod ord replST delST">
          <ac:chgData name="Selvyn Yovany Martinez Barahona" userId="3ccf779dc7355a40" providerId="LiveId" clId="{176DFD19-9071-4B24-AA88-5DC23F609659}" dt="2022-11-08T00:33:44.234" v="2229"/>
          <ac:graphicFrameMkLst>
            <pc:docMk/>
            <pc:sldMk cId="849266544" sldId="256"/>
            <ac:graphicFrameMk id="475" creationId="{547E4975-53E5-8C12-5A08-8C747245BDC3}"/>
          </ac:graphicFrameMkLst>
        </pc:graphicFrameChg>
        <pc:graphicFrameChg chg="add mod ord replST delST">
          <ac:chgData name="Selvyn Yovany Martinez Barahona" userId="3ccf779dc7355a40" providerId="LiveId" clId="{176DFD19-9071-4B24-AA88-5DC23F609659}" dt="2022-11-08T00:33:44.234" v="2229"/>
          <ac:graphicFrameMkLst>
            <pc:docMk/>
            <pc:sldMk cId="849266544" sldId="256"/>
            <ac:graphicFrameMk id="476" creationId="{764FF080-E647-F290-5FBD-8BBC00267995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963133640552997E-2"/>
          <c:y val="2.3963133640552997E-2"/>
          <c:w val="0.95207373271889406"/>
          <c:h val="0.9520737327188940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2C2-42CB-800E-4BB1DAD5CFE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2C2-42CB-800E-4BB1DAD5CFE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62C2-42CB-800E-4BB1DAD5CFE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62C2-42CB-800E-4BB1DAD5CFE7}"/>
              </c:ext>
            </c:extLst>
          </c:dPt>
          <c:dPt>
            <c:idx val="4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62C2-42CB-800E-4BB1DAD5CFE7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62C2-42CB-800E-4BB1DAD5CFE7}"/>
              </c:ext>
            </c:extLst>
          </c:dPt>
          <c:dLbls>
            <c:dLbl>
              <c:idx val="0"/>
              <c:layout>
                <c:manualLayout>
                  <c:x val="1.6129032258064516E-2"/>
                  <c:y val="6.6820276497695855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2C2-42CB-800E-4BB1DAD5CFE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92.661139493323958</c:v>
                </c:pt>
                <c:pt idx="1">
                  <c:v>1.4148241599792153</c:v>
                </c:pt>
                <c:pt idx="2">
                  <c:v>1.4296714654205718</c:v>
                </c:pt>
                <c:pt idx="3">
                  <c:v>1.456222484907294</c:v>
                </c:pt>
                <c:pt idx="4">
                  <c:v>1.4940226304679034</c:v>
                </c:pt>
                <c:pt idx="5">
                  <c:v>1.54411976590106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2C2-42CB-800E-4BB1DAD5CF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963133640552997E-2"/>
          <c:y val="2.3963133640552997E-2"/>
          <c:w val="0.95207373271889406"/>
          <c:h val="0.9520737327188940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793-4CD7-9880-F204275D3AD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793-4CD7-9880-F204275D3AD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F793-4CD7-9880-F204275D3AD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793-4CD7-9880-F204275D3AD4}"/>
              </c:ext>
            </c:extLst>
          </c:dPt>
          <c:dPt>
            <c:idx val="4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F793-4CD7-9880-F204275D3AD4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F793-4CD7-9880-F204275D3AD4}"/>
              </c:ext>
            </c:extLst>
          </c:dPt>
          <c:dLbls>
            <c:dLbl>
              <c:idx val="0"/>
              <c:layout>
                <c:manualLayout>
                  <c:x val="1.7050691244239632E-2"/>
                  <c:y val="6.4976958525345616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793-4CD7-9880-F204275D3AD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91.797443848618272</c:v>
                </c:pt>
                <c:pt idx="1">
                  <c:v>1.5736092788980451</c:v>
                </c:pt>
                <c:pt idx="2">
                  <c:v>1.5766074457331802</c:v>
                </c:pt>
                <c:pt idx="3">
                  <c:v>1.605304185440902</c:v>
                </c:pt>
                <c:pt idx="4">
                  <c:v>1.6862546899895494</c:v>
                </c:pt>
                <c:pt idx="5">
                  <c:v>1.7607805513200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793-4CD7-9880-F204275D3A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D4E3FC-8A7F-6BF2-78CA-C13DCF3255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693104-09D5-E59B-34F6-85ADB42AE5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A51190-6082-D63D-843A-4ED8F0B2B2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025541-CA7C-0B80-0394-81DD82BEE0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A893EF-8CCF-961B-058A-47618437DF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5700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68E742-F967-14B9-7050-1DD1A04C8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EDBEC6E-D02A-864B-4EA3-A8ABBCD325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6F13C1-790D-EC82-24D7-25B4EC3C4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FF85FC-910B-2323-5305-11CE19BE1E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9361FC-FCAA-2EF7-EABF-49A2D9DBC3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7570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7D2C92-0AB6-1303-C9DE-5BDD2C048E1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D371D37-8FDD-12BE-D450-44722E6097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ABAC4A-C2BE-6FBB-4FCF-67DC37E006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B8C5F9-8360-DE8F-3054-2B5638A04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5617E3-600D-70FC-7F6C-86AB6D28A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149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30DC9-5502-86E5-41B8-6C2C12F8CE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2DDEEB-9872-06C9-A026-00ACE158D9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ABF3DE-C1BA-8881-BAA2-1581D8C57F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55C896-00BF-9E5C-9E2E-8526135C8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BDC7B1-009E-CFF5-8DCF-9953544A4C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050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365BC0-E308-E3FA-DBA1-A71AFEB886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2D6B35-54A0-BEB7-3824-13BA21F951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37A3EF-193D-6CD4-51B1-FB9654BEAE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6E58E2-56CB-C81A-21C8-8F1B80C05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6748C2-E657-40B3-5159-A6F4A73C0D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9850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1F8F06-9A04-3BB0-522D-C2CACCB6A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62EF2F-4302-A8C6-C218-3B625C09755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013C58-DEA4-DE02-8C54-5E6E21F27D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157F4C-2E98-AB25-32E9-7C2C5CB42A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1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82970EF-45D7-53E7-B132-CFDF1D8D0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16FA54-7458-D110-E2E0-40D277589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6411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0351D5-AD9F-E34C-FD13-8267285BA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1CCF9C-298B-800A-5BCB-0854F8DA8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68809A6-2482-A99C-9515-054425968B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8C45B3-057E-CD50-EF45-70AABB36FAB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1C00656-EFFA-EE87-95F8-7472ECF741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816244-1CB3-DB32-C838-11810F57AD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18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A221637-6EDC-95F8-F3C8-CD3528A788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5A68065-9923-F5AB-98D1-D6F59F437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125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358214-4B87-B3FA-9FE4-18BB4359E4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99D291-0888-4981-5F2A-790AAFD86B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B96BB9-8CE2-C950-9B39-F19A13D9DB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1131C3-03EE-5A69-BEDF-9CF1D0FA18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6714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97563F-55D7-346C-DD03-FD0DB2E5DD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6B6882-7BC3-0CAD-DEEE-343D789B08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CA51FF-E8D0-DDFA-5745-D6CD7D997B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569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433073-CAEC-8EBA-7070-BF2C74900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2D1335-84BA-6DAA-AB9A-BD12121DEF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5A5255-0F25-B115-F5C0-48F0DDB064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2A23A3-D6D3-2504-1550-0665F5DFE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1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A1AD17-0D8C-1633-C803-D2F0D3E888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B31F59-5D62-3F42-2B49-6C00602F5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468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0F7CB-C742-430A-A84B-8D71C0D07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B126791-3C5F-5B3E-89A7-E008F0DD90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11998E-5100-3A5D-89B2-3FFCA7E84D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1A8776-8363-2A40-8B95-4FD1DE2B77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A95F8-A962-462E-B5CA-65B478895019}" type="datetimeFigureOut">
              <a:rPr lang="en-US" smtClean="0"/>
              <a:t>11/1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55AB35-BFE2-23D2-E871-4BAC3EE6F0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76C091-23F8-B22E-8C2F-7E33C588F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2888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7F5CCF-542E-3C09-8B6F-F007E8572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6427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7F5CCF-542E-3C09-8B6F-F007E8572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D721418-427A-CD21-6011-6E8615C14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092DAB-98AD-CAE2-1124-4644D0F5CF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4A95F8-A962-462E-B5CA-65B478895019}" type="datetimeFigureOut">
              <a:rPr lang="en-US" smtClean="0"/>
              <a:t>11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1EF73C-1DF7-1ABD-5362-AB94EFAA19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FE134D-C7E9-B0F2-2925-71E0CA0CCA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2BF392-05A7-43CD-BD8F-52B1241B3A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721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image" Target="../media/image1.emf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41" Type="http://schemas.openxmlformats.org/officeDocument/2006/relationships/oleObject" Target="../embeddings/oleObject2.bin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slideLayout" Target="../slideLayouts/slideLayout1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chart" Target="../charts/chart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chart" Target="../charts/chart1.xml"/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4F6DDB2-4988-6D60-A3BC-07C92A74F1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9996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25" imgH="424" progId="TCLayout.ActiveDocument.1">
                  <p:embed/>
                </p:oleObj>
              </mc:Choice>
              <mc:Fallback>
                <p:oleObj name="think-cell Slide" r:id="rId41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4F6DDB2-4988-6D60-A3BC-07C92A74F1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65" name="Chart 464">
            <a:extLst>
              <a:ext uri="{FF2B5EF4-FFF2-40B4-BE49-F238E27FC236}">
                <a16:creationId xmlns:a16="http://schemas.microsoft.com/office/drawing/2014/main" id="{F65BFDD9-B94A-5DF0-B040-89637F8D1B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5636549"/>
              </p:ext>
            </p:extLst>
          </p:nvPr>
        </p:nvGraphicFramePr>
        <p:xfrm>
          <a:off x="101600" y="1244600"/>
          <a:ext cx="3444875" cy="3444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461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585913" y="2109788"/>
            <a:ext cx="403225" cy="19208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E7AF03-DA7E-4BE6-81D2-EE2DA761436B}" type="datetime'''''''''''''''''1''.''''''''''''''''''''5''''''''''''''%'''''">
              <a:rPr lang="en-US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57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30288" y="1533525"/>
            <a:ext cx="403225" cy="1920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D81FB6-E561-4B15-ABE6-EAAFB56D8169}" type="datetime'''''1''''''''''''''''''''''''.''''4''''''''%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4%</a:t>
            </a:fld>
            <a:endParaRPr lang="en-US" sz="1400" dirty="0"/>
          </a:p>
        </p:txBody>
      </p:sp>
      <p:sp>
        <p:nvSpPr>
          <p:cNvPr id="458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233488" y="1725613"/>
            <a:ext cx="403225" cy="1920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5240C2-7B6C-4352-AACC-973F54BDBD0C}" type="datetime'''''1''''''''''''''''''''''''''''.4%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4%</a:t>
            </a:fld>
            <a:endParaRPr lang="en-US" sz="1400" dirty="0"/>
          </a:p>
        </p:txBody>
      </p:sp>
      <p:sp>
        <p:nvSpPr>
          <p:cNvPr id="459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392238" y="1917700"/>
            <a:ext cx="403225" cy="19208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E1CFC3-A6C8-4AF2-AC46-DE4F3E8EFDC3}" type="datetime'''''''''''''''''''''''''''''''1''''.5''''''''''%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%</a:t>
            </a:fld>
            <a:endParaRPr lang="en-US" sz="1400" dirty="0"/>
          </a:p>
        </p:txBody>
      </p:sp>
      <p:sp>
        <p:nvSpPr>
          <p:cNvPr id="460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408113" y="1393825"/>
            <a:ext cx="403225" cy="192088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B00B06-CE3E-432E-BD62-CE5A25F69D8D}" type="datetime'1''''''''''''.''''''''''''''''''''5''%'''''''''''''''''">
              <a:rPr lang="en-US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279525" y="2870200"/>
            <a:ext cx="10906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15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EFC032-B492-4187-9586-CB6FA4BB7B9B}" type="datetime'''$1'''',2''9''''''''''''''''''''7,8''78''''''''.6''0 '''">
              <a:rPr lang="en-US" altLang="en-US" sz="1400" smtClean="0"/>
              <a:pPr/>
              <a:t>$1,297,878.60 </a:t>
            </a:fld>
            <a:endParaRPr lang="en-US" sz="1400" dirty="0"/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CFE16A47-45D9-1330-227A-6FA04AF148B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721100" y="21605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A95A17FA-3020-6F91-90B9-BE801BCA513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721100" y="1398588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52C7F6AE-BF4D-835B-F0D7-0E03307745E7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721100" y="1652588"/>
            <a:ext cx="250825" cy="187325"/>
          </a:xfrm>
          <a:prstGeom prst="rect">
            <a:avLst/>
          </a:prstGeom>
          <a:solidFill>
            <a:srgbClr val="C30C3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ACB5FA66-420A-A81B-9515-200E417A7614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721100" y="1906588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FCAE7E1D-1499-C758-F9FE-00B9371A46F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721100" y="24145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1" name="Rectangle 290">
            <a:extLst>
              <a:ext uri="{FF2B5EF4-FFF2-40B4-BE49-F238E27FC236}">
                <a16:creationId xmlns:a16="http://schemas.microsoft.com/office/drawing/2014/main" id="{42BABA56-84CC-058A-9FA9-01E2AE4F30F6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3721100" y="26685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35BF6085-E56A-8D0E-9B3C-4692F351187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022725" y="2679700"/>
            <a:ext cx="23923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F842435-0263-4D0F-B81A-B2CC55BFBE9E}" type="datetime'''''All'' ''''Ot''her Brand''s = ''''$''1'',20''''2'',629.10'">
              <a:rPr lang="en-US" altLang="en-US" sz="1400" smtClean="0"/>
              <a:pPr/>
              <a:t>All Other Brands = $1,202,629.10</a:t>
            </a:fld>
            <a:endParaRPr lang="en-US" sz="1400" dirty="0"/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D2C85364-35B4-24C7-21A3-4F985EAEEE7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022725" y="1409700"/>
            <a:ext cx="20335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7E9563-F2BC-4D4F-8C4E-BDF5A3FDB97B}" type="datetime'Ben and J''''e''''''r''rys ''='''' $''2''''0,''''040.''8''0'">
              <a:rPr lang="en-US" altLang="en-US" sz="1400" smtClean="0"/>
              <a:pPr/>
              <a:t>Ben and Jerrys = $20,040.80</a:t>
            </a:fld>
            <a:endParaRPr lang="en-US" sz="1400" dirty="0"/>
          </a:p>
        </p:txBody>
      </p:sp>
      <p:sp>
        <p:nvSpPr>
          <p:cNvPr id="168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022725" y="1663700"/>
            <a:ext cx="13620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8F3D5C-6800-4691-A322-E713C2DC232D}" type="datetime'Pep''''''si'' ''''''''''''''= $1''''''9'',''''3''''90''.''60'">
              <a:rPr lang="en-US" altLang="en-US" sz="1400" smtClean="0"/>
              <a:pPr/>
              <a:t>Pepsi = $19,390.60</a:t>
            </a:fld>
            <a:endParaRPr lang="en-US" sz="1400" dirty="0"/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35BB811B-08DE-AB67-F9FD-C573E1C72AC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022725" y="2171700"/>
            <a:ext cx="16160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731A5A5-500D-4E77-B48A-60B1DF216EF2}" type="datetime'Ke''l''lo''''''gg''''’s'''' = ''''$18'',5''''''55''''.''40'''">
              <a:rPr lang="en-US" altLang="en-US" sz="1400" smtClean="0"/>
              <a:pPr/>
              <a:t>Kellogg’s = $18,555.40</a:t>
            </a:fld>
            <a:endParaRPr lang="en-US" sz="1400" dirty="0"/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022725" y="1917700"/>
            <a:ext cx="1270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CD9367-4C90-4362-9C02-23DADA762573}" type="datetime'Fo''''l''g''e''''r''''s'''' ='' ''$1''''''''''''8'',9''00'">
              <a:rPr lang="en-US" altLang="en-US" sz="1400" smtClean="0"/>
              <a:pPr/>
              <a:t>Folgers = $18,900</a:t>
            </a:fld>
            <a:endParaRPr lang="en-US" sz="1400" dirty="0"/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27C272A0-CD42-325D-2C62-C2A645DB0C1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022725" y="2425700"/>
            <a:ext cx="1552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5E228E-03E8-43CC-A0FC-B50AB6B3ACA0}" type="datetime'''B''ig''e''low = ''''''$''''1''''8'',''3''6''2''.''''70'''''">
              <a:rPr lang="en-US" altLang="en-US" sz="1400" smtClean="0"/>
              <a:pPr/>
              <a:t>Bigelow = $18,362.70</a:t>
            </a:fld>
            <a:endParaRPr lang="en-US" sz="1400" dirty="0"/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7C20ADE5-2FD0-8E3B-B4A5-8D535F5437A7}"/>
              </a:ext>
            </a:extLst>
          </p:cNvPr>
          <p:cNvSpPr txBox="1"/>
          <p:nvPr/>
        </p:nvSpPr>
        <p:spPr>
          <a:xfrm>
            <a:off x="0" y="571282"/>
            <a:ext cx="48572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j-lt"/>
              </a:rPr>
              <a:t>Spending share of the top</a:t>
            </a:r>
            <a:r>
              <a:rPr lang="en-US" b="0" dirty="0">
                <a:effectLst/>
                <a:latin typeface="+mj-lt"/>
              </a:rPr>
              <a:t> five brands among users who were created within the past 6 months</a:t>
            </a:r>
          </a:p>
        </p:txBody>
      </p:sp>
      <p:sp>
        <p:nvSpPr>
          <p:cNvPr id="385" name="Title 25">
            <a:extLst>
              <a:ext uri="{FF2B5EF4-FFF2-40B4-BE49-F238E27FC236}">
                <a16:creationId xmlns:a16="http://schemas.microsoft.com/office/drawing/2014/main" id="{046DFD33-DE3E-0A85-004B-7F5CE8942312}"/>
              </a:ext>
            </a:extLst>
          </p:cNvPr>
          <p:cNvSpPr txBox="1">
            <a:spLocks/>
          </p:cNvSpPr>
          <p:nvPr/>
        </p:nvSpPr>
        <p:spPr>
          <a:xfrm>
            <a:off x="6588125" y="653668"/>
            <a:ext cx="5184775" cy="59093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800" dirty="0"/>
              <a:t>Transaction share of the top five brands among users who were created within the past 6 months</a:t>
            </a:r>
          </a:p>
        </p:txBody>
      </p:sp>
      <p:graphicFrame>
        <p:nvGraphicFramePr>
          <p:cNvPr id="466" name="Chart 465">
            <a:extLst>
              <a:ext uri="{FF2B5EF4-FFF2-40B4-BE49-F238E27FC236}">
                <a16:creationId xmlns:a16="http://schemas.microsoft.com/office/drawing/2014/main" id="{3E3198C3-C4F8-578B-8084-83A2A65F0F82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102574741"/>
              </p:ext>
            </p:extLst>
          </p:nvPr>
        </p:nvGraphicFramePr>
        <p:xfrm>
          <a:off x="6689725" y="1185863"/>
          <a:ext cx="3444875" cy="3444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387" name="Text Placeholder 2">
            <a:extLst>
              <a:ext uri="{FF2B5EF4-FFF2-40B4-BE49-F238E27FC236}">
                <a16:creationId xmlns:a16="http://schemas.microsoft.com/office/drawing/2014/main" id="{F048C153-7E8A-8CE6-EB18-71AEF89CFA9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554913" y="1509713"/>
            <a:ext cx="403225" cy="1920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D003EE-DCF8-4E79-AABE-E0049623447B}" type="datetime'1''''''''''''.''''''''''''''6''''''''''''''''''''%'''''">
              <a:rPr lang="en-US" altLang="en-US" sz="1400" smtClean="0">
                <a:effectLst/>
              </a:rPr>
              <a:pPr/>
              <a:t>1.6%</a:t>
            </a:fld>
            <a:endParaRPr lang="en-US" sz="1400" dirty="0"/>
          </a:p>
        </p:txBody>
      </p:sp>
      <p:sp>
        <p:nvSpPr>
          <p:cNvPr id="390" name="Text Placeholder 2">
            <a:extLst>
              <a:ext uri="{FF2B5EF4-FFF2-40B4-BE49-F238E27FC236}">
                <a16:creationId xmlns:a16="http://schemas.microsoft.com/office/drawing/2014/main" id="{5A361C12-95C9-5F06-4553-BA298A0D487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966075" y="1336675"/>
            <a:ext cx="403225" cy="192088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6F9243-2302-4A0A-BAAC-07467FE57D56}" type="datetime'1''''.7''''''''''''''''''''''''''''''''''''''''''%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1.7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1668D685-E39E-CA78-E994-97AB150EA2B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783513" y="1701800"/>
            <a:ext cx="403225" cy="1920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549225-C675-4F4B-BEE8-C5B7C2DEB887}" type="datetime'1''''''''''''''.''6''''''''''''''''''''''''%'''''''">
              <a:rPr lang="en-US" altLang="en-US" sz="1400" smtClean="0">
                <a:effectLst/>
              </a:rPr>
              <a:pPr/>
              <a:t>1.6%</a:t>
            </a:fld>
            <a:endParaRPr lang="en-US" sz="1400" dirty="0"/>
          </a:p>
        </p:txBody>
      </p:sp>
      <p:sp>
        <p:nvSpPr>
          <p:cNvPr id="391" name="Text Placeholder 2">
            <a:extLst>
              <a:ext uri="{FF2B5EF4-FFF2-40B4-BE49-F238E27FC236}">
                <a16:creationId xmlns:a16="http://schemas.microsoft.com/office/drawing/2014/main" id="{9D0C0292-A91B-A51A-422D-523D0068113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170863" y="2085975"/>
            <a:ext cx="403225" cy="19208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105A3C-3918-4CA9-B467-72F78DA07DBB}" type="datetime'''''''''''''''''''''1''''''.''8''''%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1.8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id="{761668BA-4084-A0C9-1315-764B23165AFC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959725" y="1893888"/>
            <a:ext cx="403225" cy="19208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D2B7AC-F465-449B-B01C-C840CAD83FF4}" type="datetime'''''''''''''''1''''''''''''''.''''''''''''6''''%'''''">
              <a:rPr lang="en-US" altLang="en-US" sz="1400" smtClean="0">
                <a:effectLst/>
              </a:rPr>
              <a:pPr/>
              <a:t>1.6%</a:t>
            </a:fld>
            <a:endParaRPr lang="en-US" sz="1400" dirty="0"/>
          </a:p>
        </p:txBody>
      </p:sp>
      <p:sp>
        <p:nvSpPr>
          <p:cNvPr id="393" name="Rectangle 392">
            <a:extLst>
              <a:ext uri="{FF2B5EF4-FFF2-40B4-BE49-F238E27FC236}">
                <a16:creationId xmlns:a16="http://schemas.microsoft.com/office/drawing/2014/main" id="{8E7815A4-5393-807F-919E-046A6C31D741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10309225" y="1652588"/>
            <a:ext cx="250825" cy="187325"/>
          </a:xfrm>
          <a:prstGeom prst="rect">
            <a:avLst/>
          </a:prstGeom>
          <a:solidFill>
            <a:srgbClr val="C30C3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2" name="Rectangle 391">
            <a:extLst>
              <a:ext uri="{FF2B5EF4-FFF2-40B4-BE49-F238E27FC236}">
                <a16:creationId xmlns:a16="http://schemas.microsoft.com/office/drawing/2014/main" id="{AC2C9A98-FE6C-C979-12CC-1FDE567E04C6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10309225" y="1398588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4" name="Rectangle 393">
            <a:extLst>
              <a:ext uri="{FF2B5EF4-FFF2-40B4-BE49-F238E27FC236}">
                <a16:creationId xmlns:a16="http://schemas.microsoft.com/office/drawing/2014/main" id="{6862160E-83C3-739C-81C9-3F8FCCDA48C6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0309225" y="1906588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5" name="Rectangle 394">
            <a:extLst>
              <a:ext uri="{FF2B5EF4-FFF2-40B4-BE49-F238E27FC236}">
                <a16:creationId xmlns:a16="http://schemas.microsoft.com/office/drawing/2014/main" id="{57391670-30A4-EAC2-32E2-D9315693A9AC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0309225" y="2160588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7E6EDAA4-3319-9A94-5A27-347D4BF81F7F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0309225" y="241458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8F139A8E-8B69-16D8-FF4D-4485EEEA81BF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10309225" y="2668588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8" name="Text Placeholder 2">
            <a:extLst>
              <a:ext uri="{FF2B5EF4-FFF2-40B4-BE49-F238E27FC236}">
                <a16:creationId xmlns:a16="http://schemas.microsoft.com/office/drawing/2014/main" id="{E5A7DB12-3395-5216-4A11-B585E10FA73D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610850" y="1409700"/>
            <a:ext cx="16271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D1264A1-4B90-4442-B2AA-F187F627F355}" type="datetime'''Be''n and'' ''''J''er''''''''''''rys = 4,''''111'''''">
              <a:rPr lang="en-US" altLang="en-US" sz="1400" smtClean="0"/>
              <a:pPr/>
              <a:t>Ben and Jerrys = 4,111</a:t>
            </a:fld>
            <a:endParaRPr lang="en-US" sz="1400" dirty="0"/>
          </a:p>
        </p:txBody>
      </p:sp>
      <p:sp>
        <p:nvSpPr>
          <p:cNvPr id="400" name="Text Placeholder 2">
            <a:extLst>
              <a:ext uri="{FF2B5EF4-FFF2-40B4-BE49-F238E27FC236}">
                <a16:creationId xmlns:a16="http://schemas.microsoft.com/office/drawing/2014/main" id="{AB50C9EA-4642-5032-439C-1E2473352DFB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610850" y="1663700"/>
            <a:ext cx="955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8F2506-4869-4C2F-A4E8-7CECD87F5576}" type="datetime'Pe''ps''''i'' ''''= ''''''''3'''''''''''''''''''''',9''''37'''">
              <a:rPr lang="en-US" altLang="en-US" sz="1400" smtClean="0"/>
              <a:pPr/>
              <a:t>Pepsi = 3,937</a:t>
            </a:fld>
            <a:endParaRPr lang="en-US" sz="1400" dirty="0"/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DB2D3D2D-474F-2B4D-7F97-9D3614C3D2D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610850" y="1917700"/>
            <a:ext cx="863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FE4CA86-6675-4EC1-9D47-BBEFB0070755}" type="datetime'''''''D''''o''l''e'''''''' ''''''''''''''''''''='' 3''''748'">
              <a:rPr lang="en-US" altLang="en-US" sz="1400" smtClean="0"/>
              <a:pPr/>
              <a:t>Dole = 3748</a:t>
            </a:fld>
            <a:endParaRPr lang="en-US" sz="1400" dirty="0"/>
          </a:p>
        </p:txBody>
      </p:sp>
      <p:sp>
        <p:nvSpPr>
          <p:cNvPr id="401" name="Text Placeholder 2">
            <a:extLst>
              <a:ext uri="{FF2B5EF4-FFF2-40B4-BE49-F238E27FC236}">
                <a16:creationId xmlns:a16="http://schemas.microsoft.com/office/drawing/2014/main" id="{F6D3763C-E73F-53EA-3E70-A969BECD188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610850" y="2171700"/>
            <a:ext cx="1089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257C297-36FD-4073-A97E-3AA7764846DC}" type="datetime'F''ol''g''e''''rs ''= ''''''3,''''''''''6''''''8''1'''''''">
              <a:rPr lang="en-US" altLang="en-US" sz="1400" smtClean="0"/>
              <a:pPr/>
              <a:t>Folgers = 3,681</a:t>
            </a:fld>
            <a:endParaRPr lang="en-US" sz="1400" dirty="0"/>
          </a:p>
        </p:txBody>
      </p:sp>
      <p:sp>
        <p:nvSpPr>
          <p:cNvPr id="399" name="Text Placeholder 2">
            <a:extLst>
              <a:ext uri="{FF2B5EF4-FFF2-40B4-BE49-F238E27FC236}">
                <a16:creationId xmlns:a16="http://schemas.microsoft.com/office/drawing/2014/main" id="{733610BC-6B23-F9CC-4330-A6823B338323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0610850" y="2425700"/>
            <a:ext cx="974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A270955-CCC4-4691-871D-C250577D5B56}" type="datetime'''''K''n''''''o''''rr ''= ''''''''3'''''''',''6''7''''4'">
              <a:rPr lang="en-US" altLang="en-US" sz="1400" smtClean="0"/>
              <a:pPr/>
              <a:t>Knorr = 3,674</a:t>
            </a:fld>
            <a:endParaRPr lang="en-US" sz="1400" dirty="0"/>
          </a:p>
        </p:txBody>
      </p:sp>
      <p:sp>
        <p:nvSpPr>
          <p:cNvPr id="403" name="Text Placeholder 2">
            <a:extLst>
              <a:ext uri="{FF2B5EF4-FFF2-40B4-BE49-F238E27FC236}">
                <a16:creationId xmlns:a16="http://schemas.microsoft.com/office/drawing/2014/main" id="{2484883C-2B53-61DE-19E9-9F79FE260899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10610850" y="2679700"/>
            <a:ext cx="1917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37DFC31-B64B-431F-BCC1-3A00E218A990}" type="datetime'Al''''l'''' o''''ther'' B''''rands'' ''''= 214'''''',3''2''5'">
              <a:rPr lang="en-US" altLang="en-US" sz="1400" smtClean="0"/>
              <a:pPr/>
              <a:t>All other Brands = 214,325</a:t>
            </a:fld>
            <a:endParaRPr lang="en-US" sz="1400" dirty="0"/>
          </a:p>
        </p:txBody>
      </p:sp>
      <p:sp>
        <p:nvSpPr>
          <p:cNvPr id="438" name="Text Placeholder 2">
            <a:extLst>
              <a:ext uri="{FF2B5EF4-FFF2-40B4-BE49-F238E27FC236}">
                <a16:creationId xmlns:a16="http://schemas.microsoft.com/office/drawing/2014/main" id="{F01B8698-9294-F532-DDB4-2EE198CBAA21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8113713" y="2870200"/>
            <a:ext cx="60007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15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734556-06F1-41D3-ADB8-66BB873D248F}" type="datetime'''''''''2''3''''''''''''3'',''''''''''''''4''''7''''''''6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3,476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8492665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7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3BSJ0qPfgP9ssWUlGGg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L9gK2CGfz0AdCUjf4m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MWXFqip47olUXXBef4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xyhVvpj08rEHZ6v406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PJ2BK_KDRRTG8YJTFU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eVToyh_ePbZi7KkG5Zv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0yUYwIhwPZ6g0leqCn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5CvW_zle8fF_ZRmVF2C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v0Nn1riYpa_OJ3EtKK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WMyF0DecPPTK46Oiub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n1E3o3AIWKRuquQTi6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E1tDnQd7FxTbiKg7kkZ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NqyGvHEuy8wY.kgnWKL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zHm11SF1GSy_p9zIwQr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cb0WNgJh.Mw4Q8FVoy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JcEFCa6e7KuRyAfU_c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DDi9IDWQreswKEvcZYH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twseCPXrfgiJebg.3kJ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230LI.fgbdLzvwwPEIQ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nhjOCVIFBxw9bDKZpR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WWr8mFN1chtnoM3DEzm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NdLW.GKmbF52DfGrZ6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lWqP_vcr_1JxIJPsGQF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cJPBJFyGOnLM882CqlP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6NrAQs5.3SrAlaGyQ2e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2huZE1X3hTNlTquLou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QTRZBMhBlx.YnNxVJ5m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btF2DiWlum5XAm1lrLr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FMaHwx7JgUa4ExRctXU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0Wa370kvC7mhaqHRWx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titBtc4Mb_KOaMXFH5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EN0B4nhTwuG_g76ucfy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pbIxDvGOiqAf9e9RQK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M1bSm56yWwcBVqMHEt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6Lm6qFyriJXzewWg3n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dp4kr9uW4qgtud3QnU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ZQMxaGn4vAn9QzbiuT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GUlLZiStFrEkbqz0bGG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22</TotalTime>
  <Words>60</Words>
  <Application>Microsoft Office PowerPoint</Application>
  <PresentationFormat>Widescreen</PresentationFormat>
  <Paragraphs>2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lvyn Yovany Martinez Barahona</dc:creator>
  <cp:lastModifiedBy>Selvyn Yovany Martinez Barahona</cp:lastModifiedBy>
  <cp:revision>1</cp:revision>
  <dcterms:created xsi:type="dcterms:W3CDTF">2022-11-07T06:15:48Z</dcterms:created>
  <dcterms:modified xsi:type="dcterms:W3CDTF">2022-11-19T03:27:27Z</dcterms:modified>
</cp:coreProperties>
</file>